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72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2B6E6E-F651-494A-985D-68FB1486C3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0186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>
          <a:xfrm>
            <a:off x="1501681" y="2446862"/>
            <a:ext cx="9218616" cy="2728909"/>
            <a:chOff x="1679577" y="2492372"/>
            <a:chExt cx="9218616" cy="2728909"/>
          </a:xfrm>
          <a:solidFill>
            <a:schemeClr val="tx1">
              <a:lumMod val="60000"/>
              <a:lumOff val="40000"/>
            </a:schemeClr>
          </a:solidFill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1679577" y="3949695"/>
              <a:ext cx="965200" cy="331787"/>
            </a:xfrm>
            <a:custGeom>
              <a:avLst/>
              <a:gdLst>
                <a:gd name="T0" fmla="*/ 283 w 283"/>
                <a:gd name="T1" fmla="*/ 21 h 91"/>
                <a:gd name="T2" fmla="*/ 35 w 283"/>
                <a:gd name="T3" fmla="*/ 45 h 91"/>
                <a:gd name="T4" fmla="*/ 283 w 283"/>
                <a:gd name="T5" fmla="*/ 2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3" h="91">
                  <a:moveTo>
                    <a:pt x="283" y="21"/>
                  </a:moveTo>
                  <a:cubicBezTo>
                    <a:pt x="283" y="21"/>
                    <a:pt x="0" y="0"/>
                    <a:pt x="35" y="45"/>
                  </a:cubicBezTo>
                  <a:cubicBezTo>
                    <a:pt x="70" y="91"/>
                    <a:pt x="238" y="27"/>
                    <a:pt x="28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2792415" y="3465508"/>
              <a:ext cx="6283327" cy="776287"/>
            </a:xfrm>
            <a:custGeom>
              <a:avLst/>
              <a:gdLst>
                <a:gd name="T0" fmla="*/ 8 w 1842"/>
                <a:gd name="T1" fmla="*/ 149 h 213"/>
                <a:gd name="T2" fmla="*/ 218 w 1842"/>
                <a:gd name="T3" fmla="*/ 114 h 213"/>
                <a:gd name="T4" fmla="*/ 765 w 1842"/>
                <a:gd name="T5" fmla="*/ 61 h 213"/>
                <a:gd name="T6" fmla="*/ 1824 w 1842"/>
                <a:gd name="T7" fmla="*/ 149 h 213"/>
                <a:gd name="T8" fmla="*/ 1685 w 1842"/>
                <a:gd name="T9" fmla="*/ 208 h 213"/>
                <a:gd name="T10" fmla="*/ 293 w 1842"/>
                <a:gd name="T11" fmla="*/ 129 h 213"/>
                <a:gd name="T12" fmla="*/ 8 w 1842"/>
                <a:gd name="T13" fmla="*/ 14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2" h="213">
                  <a:moveTo>
                    <a:pt x="8" y="149"/>
                  </a:moveTo>
                  <a:cubicBezTo>
                    <a:pt x="8" y="149"/>
                    <a:pt x="0" y="128"/>
                    <a:pt x="218" y="114"/>
                  </a:cubicBezTo>
                  <a:cubicBezTo>
                    <a:pt x="437" y="101"/>
                    <a:pt x="666" y="64"/>
                    <a:pt x="765" y="61"/>
                  </a:cubicBezTo>
                  <a:cubicBezTo>
                    <a:pt x="864" y="58"/>
                    <a:pt x="1764" y="0"/>
                    <a:pt x="1824" y="149"/>
                  </a:cubicBezTo>
                  <a:cubicBezTo>
                    <a:pt x="1824" y="149"/>
                    <a:pt x="1842" y="213"/>
                    <a:pt x="1685" y="208"/>
                  </a:cubicBezTo>
                  <a:cubicBezTo>
                    <a:pt x="1528" y="202"/>
                    <a:pt x="448" y="116"/>
                    <a:pt x="293" y="129"/>
                  </a:cubicBezTo>
                  <a:cubicBezTo>
                    <a:pt x="138" y="141"/>
                    <a:pt x="58" y="176"/>
                    <a:pt x="8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2989265" y="3559171"/>
              <a:ext cx="215900" cy="382587"/>
            </a:xfrm>
            <a:custGeom>
              <a:avLst/>
              <a:gdLst>
                <a:gd name="T0" fmla="*/ 0 w 63"/>
                <a:gd name="T1" fmla="*/ 0 h 105"/>
                <a:gd name="T2" fmla="*/ 32 w 63"/>
                <a:gd name="T3" fmla="*/ 80 h 105"/>
                <a:gd name="T4" fmla="*/ 0 w 63"/>
                <a:gd name="T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105">
                  <a:moveTo>
                    <a:pt x="0" y="0"/>
                  </a:moveTo>
                  <a:cubicBezTo>
                    <a:pt x="0" y="0"/>
                    <a:pt x="63" y="54"/>
                    <a:pt x="32" y="80"/>
                  </a:cubicBezTo>
                  <a:cubicBezTo>
                    <a:pt x="0" y="105"/>
                    <a:pt x="18" y="2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2989265" y="4092570"/>
              <a:ext cx="293688" cy="284162"/>
            </a:xfrm>
            <a:custGeom>
              <a:avLst/>
              <a:gdLst>
                <a:gd name="T0" fmla="*/ 32 w 86"/>
                <a:gd name="T1" fmla="*/ 78 h 78"/>
                <a:gd name="T2" fmla="*/ 32 w 86"/>
                <a:gd name="T3" fmla="*/ 0 h 78"/>
                <a:gd name="T4" fmla="*/ 32 w 86"/>
                <a:gd name="T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78">
                  <a:moveTo>
                    <a:pt x="32" y="78"/>
                  </a:moveTo>
                  <a:cubicBezTo>
                    <a:pt x="32" y="78"/>
                    <a:pt x="86" y="0"/>
                    <a:pt x="32" y="0"/>
                  </a:cubicBezTo>
                  <a:cubicBezTo>
                    <a:pt x="0" y="0"/>
                    <a:pt x="42" y="18"/>
                    <a:pt x="32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4019553" y="3246434"/>
              <a:ext cx="468313" cy="546099"/>
            </a:xfrm>
            <a:custGeom>
              <a:avLst/>
              <a:gdLst>
                <a:gd name="T0" fmla="*/ 34 w 137"/>
                <a:gd name="T1" fmla="*/ 0 h 150"/>
                <a:gd name="T2" fmla="*/ 84 w 137"/>
                <a:gd name="T3" fmla="*/ 118 h 150"/>
                <a:gd name="T4" fmla="*/ 34 w 137"/>
                <a:gd name="T5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150">
                  <a:moveTo>
                    <a:pt x="34" y="0"/>
                  </a:moveTo>
                  <a:cubicBezTo>
                    <a:pt x="34" y="0"/>
                    <a:pt x="137" y="97"/>
                    <a:pt x="84" y="118"/>
                  </a:cubicBezTo>
                  <a:cubicBezTo>
                    <a:pt x="0" y="150"/>
                    <a:pt x="92" y="9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4695828" y="3063871"/>
              <a:ext cx="422275" cy="649287"/>
            </a:xfrm>
            <a:custGeom>
              <a:avLst/>
              <a:gdLst>
                <a:gd name="T0" fmla="*/ 6 w 124"/>
                <a:gd name="T1" fmla="*/ 0 h 178"/>
                <a:gd name="T2" fmla="*/ 62 w 124"/>
                <a:gd name="T3" fmla="*/ 159 h 178"/>
                <a:gd name="T4" fmla="*/ 6 w 124"/>
                <a:gd name="T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4" h="178">
                  <a:moveTo>
                    <a:pt x="6" y="0"/>
                  </a:moveTo>
                  <a:cubicBezTo>
                    <a:pt x="6" y="0"/>
                    <a:pt x="124" y="141"/>
                    <a:pt x="62" y="159"/>
                  </a:cubicBezTo>
                  <a:cubicBezTo>
                    <a:pt x="0" y="178"/>
                    <a:pt x="44" y="6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868991" y="2757484"/>
              <a:ext cx="696913" cy="854074"/>
            </a:xfrm>
            <a:custGeom>
              <a:avLst/>
              <a:gdLst>
                <a:gd name="T0" fmla="*/ 50 w 204"/>
                <a:gd name="T1" fmla="*/ 0 h 234"/>
                <a:gd name="T2" fmla="*/ 112 w 204"/>
                <a:gd name="T3" fmla="*/ 210 h 234"/>
                <a:gd name="T4" fmla="*/ 50 w 204"/>
                <a:gd name="T5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4" h="234">
                  <a:moveTo>
                    <a:pt x="50" y="0"/>
                  </a:moveTo>
                  <a:cubicBezTo>
                    <a:pt x="50" y="0"/>
                    <a:pt x="204" y="190"/>
                    <a:pt x="112" y="210"/>
                  </a:cubicBezTo>
                  <a:cubicBezTo>
                    <a:pt x="0" y="234"/>
                    <a:pt x="104" y="100"/>
                    <a:pt x="5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7207254" y="2560634"/>
              <a:ext cx="709613" cy="998536"/>
            </a:xfrm>
            <a:custGeom>
              <a:avLst/>
              <a:gdLst>
                <a:gd name="T0" fmla="*/ 72 w 208"/>
                <a:gd name="T1" fmla="*/ 0 h 274"/>
                <a:gd name="T2" fmla="*/ 114 w 208"/>
                <a:gd name="T3" fmla="*/ 274 h 274"/>
                <a:gd name="T4" fmla="*/ 72 w 208"/>
                <a:gd name="T5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8" h="274">
                  <a:moveTo>
                    <a:pt x="72" y="0"/>
                  </a:moveTo>
                  <a:cubicBezTo>
                    <a:pt x="72" y="0"/>
                    <a:pt x="208" y="274"/>
                    <a:pt x="114" y="274"/>
                  </a:cubicBezTo>
                  <a:cubicBezTo>
                    <a:pt x="0" y="274"/>
                    <a:pt x="118" y="144"/>
                    <a:pt x="7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8529642" y="2492372"/>
              <a:ext cx="2368551" cy="2728909"/>
            </a:xfrm>
            <a:custGeom>
              <a:avLst/>
              <a:gdLst>
                <a:gd name="T0" fmla="*/ 682 w 694"/>
                <a:gd name="T1" fmla="*/ 437 h 749"/>
                <a:gd name="T2" fmla="*/ 266 w 694"/>
                <a:gd name="T3" fmla="*/ 133 h 749"/>
                <a:gd name="T4" fmla="*/ 104 w 694"/>
                <a:gd name="T5" fmla="*/ 227 h 749"/>
                <a:gd name="T6" fmla="*/ 196 w 694"/>
                <a:gd name="T7" fmla="*/ 361 h 749"/>
                <a:gd name="T8" fmla="*/ 142 w 694"/>
                <a:gd name="T9" fmla="*/ 593 h 749"/>
                <a:gd name="T10" fmla="*/ 222 w 694"/>
                <a:gd name="T11" fmla="*/ 731 h 749"/>
                <a:gd name="T12" fmla="*/ 682 w 694"/>
                <a:gd name="T13" fmla="*/ 437 h 749"/>
                <a:gd name="T14" fmla="*/ 304 w 694"/>
                <a:gd name="T15" fmla="*/ 595 h 749"/>
                <a:gd name="T16" fmla="*/ 248 w 694"/>
                <a:gd name="T17" fmla="*/ 551 h 749"/>
                <a:gd name="T18" fmla="*/ 304 w 694"/>
                <a:gd name="T19" fmla="*/ 507 h 749"/>
                <a:gd name="T20" fmla="*/ 360 w 694"/>
                <a:gd name="T21" fmla="*/ 551 h 749"/>
                <a:gd name="T22" fmla="*/ 304 w 694"/>
                <a:gd name="T23" fmla="*/ 595 h 749"/>
                <a:gd name="T24" fmla="*/ 304 w 694"/>
                <a:gd name="T25" fmla="*/ 314 h 749"/>
                <a:gd name="T26" fmla="*/ 248 w 694"/>
                <a:gd name="T27" fmla="*/ 265 h 749"/>
                <a:gd name="T28" fmla="*/ 304 w 694"/>
                <a:gd name="T29" fmla="*/ 217 h 749"/>
                <a:gd name="T30" fmla="*/ 360 w 694"/>
                <a:gd name="T31" fmla="*/ 265 h 749"/>
                <a:gd name="T32" fmla="*/ 304 w 694"/>
                <a:gd name="T33" fmla="*/ 314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4" h="749">
                  <a:moveTo>
                    <a:pt x="682" y="437"/>
                  </a:moveTo>
                  <a:cubicBezTo>
                    <a:pt x="682" y="437"/>
                    <a:pt x="694" y="231"/>
                    <a:pt x="266" y="133"/>
                  </a:cubicBezTo>
                  <a:cubicBezTo>
                    <a:pt x="266" y="133"/>
                    <a:pt x="86" y="0"/>
                    <a:pt x="104" y="227"/>
                  </a:cubicBezTo>
                  <a:cubicBezTo>
                    <a:pt x="104" y="227"/>
                    <a:pt x="115" y="280"/>
                    <a:pt x="196" y="361"/>
                  </a:cubicBezTo>
                  <a:cubicBezTo>
                    <a:pt x="246" y="411"/>
                    <a:pt x="218" y="499"/>
                    <a:pt x="142" y="593"/>
                  </a:cubicBezTo>
                  <a:cubicBezTo>
                    <a:pt x="116" y="625"/>
                    <a:pt x="0" y="749"/>
                    <a:pt x="222" y="731"/>
                  </a:cubicBezTo>
                  <a:cubicBezTo>
                    <a:pt x="444" y="713"/>
                    <a:pt x="688" y="531"/>
                    <a:pt x="682" y="437"/>
                  </a:cubicBezTo>
                  <a:close/>
                  <a:moveTo>
                    <a:pt x="304" y="595"/>
                  </a:moveTo>
                  <a:cubicBezTo>
                    <a:pt x="273" y="595"/>
                    <a:pt x="248" y="575"/>
                    <a:pt x="248" y="551"/>
                  </a:cubicBezTo>
                  <a:cubicBezTo>
                    <a:pt x="248" y="526"/>
                    <a:pt x="273" y="507"/>
                    <a:pt x="304" y="507"/>
                  </a:cubicBezTo>
                  <a:cubicBezTo>
                    <a:pt x="335" y="507"/>
                    <a:pt x="360" y="526"/>
                    <a:pt x="360" y="551"/>
                  </a:cubicBezTo>
                  <a:cubicBezTo>
                    <a:pt x="360" y="575"/>
                    <a:pt x="335" y="595"/>
                    <a:pt x="304" y="595"/>
                  </a:cubicBezTo>
                  <a:close/>
                  <a:moveTo>
                    <a:pt x="304" y="314"/>
                  </a:moveTo>
                  <a:cubicBezTo>
                    <a:pt x="273" y="314"/>
                    <a:pt x="248" y="292"/>
                    <a:pt x="248" y="265"/>
                  </a:cubicBezTo>
                  <a:cubicBezTo>
                    <a:pt x="248" y="238"/>
                    <a:pt x="273" y="217"/>
                    <a:pt x="304" y="217"/>
                  </a:cubicBezTo>
                  <a:cubicBezTo>
                    <a:pt x="335" y="217"/>
                    <a:pt x="360" y="238"/>
                    <a:pt x="360" y="265"/>
                  </a:cubicBezTo>
                  <a:cubicBezTo>
                    <a:pt x="360" y="292"/>
                    <a:pt x="335" y="314"/>
                    <a:pt x="304" y="3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3454403" y="4033833"/>
              <a:ext cx="381000" cy="317500"/>
            </a:xfrm>
            <a:custGeom>
              <a:avLst/>
              <a:gdLst>
                <a:gd name="T0" fmla="*/ 56 w 112"/>
                <a:gd name="T1" fmla="*/ 87 h 87"/>
                <a:gd name="T2" fmla="*/ 68 w 112"/>
                <a:gd name="T3" fmla="*/ 1 h 87"/>
                <a:gd name="T4" fmla="*/ 56 w 112"/>
                <a:gd name="T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2" h="87">
                  <a:moveTo>
                    <a:pt x="56" y="87"/>
                  </a:moveTo>
                  <a:cubicBezTo>
                    <a:pt x="56" y="87"/>
                    <a:pt x="112" y="0"/>
                    <a:pt x="68" y="1"/>
                  </a:cubicBezTo>
                  <a:cubicBezTo>
                    <a:pt x="0" y="2"/>
                    <a:pt x="80" y="17"/>
                    <a:pt x="56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556003" y="3403596"/>
              <a:ext cx="279400" cy="495299"/>
            </a:xfrm>
            <a:custGeom>
              <a:avLst/>
              <a:gdLst>
                <a:gd name="T0" fmla="*/ 0 w 82"/>
                <a:gd name="T1" fmla="*/ 0 h 136"/>
                <a:gd name="T2" fmla="*/ 41 w 82"/>
                <a:gd name="T3" fmla="*/ 104 h 136"/>
                <a:gd name="T4" fmla="*/ 0 w 82"/>
                <a:gd name="T5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2" h="136">
                  <a:moveTo>
                    <a:pt x="0" y="0"/>
                  </a:moveTo>
                  <a:cubicBezTo>
                    <a:pt x="0" y="0"/>
                    <a:pt x="82" y="71"/>
                    <a:pt x="41" y="104"/>
                  </a:cubicBezTo>
                  <a:cubicBezTo>
                    <a:pt x="1" y="136"/>
                    <a:pt x="23" y="2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5248278" y="3986208"/>
              <a:ext cx="474663" cy="674687"/>
            </a:xfrm>
            <a:custGeom>
              <a:avLst/>
              <a:gdLst>
                <a:gd name="T0" fmla="*/ 0 w 139"/>
                <a:gd name="T1" fmla="*/ 185 h 185"/>
                <a:gd name="T2" fmla="*/ 77 w 139"/>
                <a:gd name="T3" fmla="*/ 26 h 185"/>
                <a:gd name="T4" fmla="*/ 0 w 139"/>
                <a:gd name="T5" fmla="*/ 18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9" h="185">
                  <a:moveTo>
                    <a:pt x="0" y="185"/>
                  </a:moveTo>
                  <a:cubicBezTo>
                    <a:pt x="0" y="185"/>
                    <a:pt x="139" y="53"/>
                    <a:pt x="77" y="26"/>
                  </a:cubicBezTo>
                  <a:cubicBezTo>
                    <a:pt x="15" y="0"/>
                    <a:pt x="47" y="125"/>
                    <a:pt x="0" y="1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6429379" y="4084632"/>
              <a:ext cx="650875" cy="965199"/>
            </a:xfrm>
            <a:custGeom>
              <a:avLst/>
              <a:gdLst>
                <a:gd name="T0" fmla="*/ 12 w 191"/>
                <a:gd name="T1" fmla="*/ 265 h 265"/>
                <a:gd name="T2" fmla="*/ 96 w 191"/>
                <a:gd name="T3" fmla="*/ 27 h 265"/>
                <a:gd name="T4" fmla="*/ 12 w 191"/>
                <a:gd name="T5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1" h="265">
                  <a:moveTo>
                    <a:pt x="12" y="265"/>
                  </a:moveTo>
                  <a:cubicBezTo>
                    <a:pt x="12" y="265"/>
                    <a:pt x="191" y="53"/>
                    <a:pt x="96" y="27"/>
                  </a:cubicBezTo>
                  <a:cubicBezTo>
                    <a:pt x="0" y="0"/>
                    <a:pt x="70" y="172"/>
                    <a:pt x="12" y="2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7885117" y="2844797"/>
              <a:ext cx="709613" cy="798511"/>
            </a:xfrm>
            <a:custGeom>
              <a:avLst/>
              <a:gdLst>
                <a:gd name="T0" fmla="*/ 99 w 208"/>
                <a:gd name="T1" fmla="*/ 0 h 219"/>
                <a:gd name="T2" fmla="*/ 114 w 208"/>
                <a:gd name="T3" fmla="*/ 219 h 219"/>
                <a:gd name="T4" fmla="*/ 99 w 208"/>
                <a:gd name="T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8" h="219">
                  <a:moveTo>
                    <a:pt x="99" y="0"/>
                  </a:moveTo>
                  <a:cubicBezTo>
                    <a:pt x="99" y="0"/>
                    <a:pt x="208" y="219"/>
                    <a:pt x="114" y="219"/>
                  </a:cubicBezTo>
                  <a:cubicBezTo>
                    <a:pt x="0" y="218"/>
                    <a:pt x="130" y="110"/>
                    <a:pt x="9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4006853" y="3927470"/>
              <a:ext cx="466725" cy="547687"/>
            </a:xfrm>
            <a:custGeom>
              <a:avLst/>
              <a:gdLst>
                <a:gd name="T0" fmla="*/ 34 w 137"/>
                <a:gd name="T1" fmla="*/ 150 h 150"/>
                <a:gd name="T2" fmla="*/ 84 w 137"/>
                <a:gd name="T3" fmla="*/ 32 h 150"/>
                <a:gd name="T4" fmla="*/ 34 w 137"/>
                <a:gd name="T5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7" h="150">
                  <a:moveTo>
                    <a:pt x="34" y="150"/>
                  </a:moveTo>
                  <a:cubicBezTo>
                    <a:pt x="34" y="150"/>
                    <a:pt x="137" y="52"/>
                    <a:pt x="84" y="32"/>
                  </a:cubicBezTo>
                  <a:cubicBezTo>
                    <a:pt x="0" y="0"/>
                    <a:pt x="92" y="60"/>
                    <a:pt x="34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4681541" y="3935408"/>
              <a:ext cx="423863" cy="649287"/>
            </a:xfrm>
            <a:custGeom>
              <a:avLst/>
              <a:gdLst>
                <a:gd name="T0" fmla="*/ 6 w 124"/>
                <a:gd name="T1" fmla="*/ 178 h 178"/>
                <a:gd name="T2" fmla="*/ 62 w 124"/>
                <a:gd name="T3" fmla="*/ 18 h 178"/>
                <a:gd name="T4" fmla="*/ 6 w 124"/>
                <a:gd name="T5" fmla="*/ 17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4" h="178">
                  <a:moveTo>
                    <a:pt x="6" y="178"/>
                  </a:moveTo>
                  <a:cubicBezTo>
                    <a:pt x="6" y="178"/>
                    <a:pt x="124" y="36"/>
                    <a:pt x="62" y="18"/>
                  </a:cubicBezTo>
                  <a:cubicBezTo>
                    <a:pt x="0" y="0"/>
                    <a:pt x="44" y="116"/>
                    <a:pt x="6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310191" y="2973384"/>
              <a:ext cx="442913" cy="674687"/>
            </a:xfrm>
            <a:custGeom>
              <a:avLst/>
              <a:gdLst>
                <a:gd name="T0" fmla="*/ 0 w 130"/>
                <a:gd name="T1" fmla="*/ 0 h 185"/>
                <a:gd name="T2" fmla="*/ 67 w 130"/>
                <a:gd name="T3" fmla="*/ 163 h 185"/>
                <a:gd name="T4" fmla="*/ 0 w 130"/>
                <a:gd name="T5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0" h="185">
                  <a:moveTo>
                    <a:pt x="0" y="0"/>
                  </a:moveTo>
                  <a:cubicBezTo>
                    <a:pt x="0" y="0"/>
                    <a:pt x="130" y="141"/>
                    <a:pt x="67" y="163"/>
                  </a:cubicBezTo>
                  <a:cubicBezTo>
                    <a:pt x="3" y="185"/>
                    <a:pt x="43" y="6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6581779" y="2647947"/>
              <a:ext cx="673100" cy="936624"/>
            </a:xfrm>
            <a:custGeom>
              <a:avLst/>
              <a:gdLst>
                <a:gd name="T0" fmla="*/ 63 w 197"/>
                <a:gd name="T1" fmla="*/ 0 h 257"/>
                <a:gd name="T2" fmla="*/ 98 w 197"/>
                <a:gd name="T3" fmla="*/ 250 h 257"/>
                <a:gd name="T4" fmla="*/ 63 w 197"/>
                <a:gd name="T5" fmla="*/ 0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7" h="257">
                  <a:moveTo>
                    <a:pt x="63" y="0"/>
                  </a:moveTo>
                  <a:cubicBezTo>
                    <a:pt x="63" y="0"/>
                    <a:pt x="197" y="243"/>
                    <a:pt x="98" y="250"/>
                  </a:cubicBezTo>
                  <a:cubicBezTo>
                    <a:pt x="0" y="257"/>
                    <a:pt x="101" y="102"/>
                    <a:pt x="6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835654" y="3989383"/>
              <a:ext cx="661988" cy="871536"/>
            </a:xfrm>
            <a:custGeom>
              <a:avLst/>
              <a:gdLst>
                <a:gd name="T0" fmla="*/ 12 w 194"/>
                <a:gd name="T1" fmla="*/ 239 h 239"/>
                <a:gd name="T2" fmla="*/ 107 w 194"/>
                <a:gd name="T3" fmla="*/ 41 h 239"/>
                <a:gd name="T4" fmla="*/ 12 w 194"/>
                <a:gd name="T5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4" h="239">
                  <a:moveTo>
                    <a:pt x="12" y="239"/>
                  </a:moveTo>
                  <a:cubicBezTo>
                    <a:pt x="12" y="239"/>
                    <a:pt x="194" y="76"/>
                    <a:pt x="107" y="41"/>
                  </a:cubicBezTo>
                  <a:cubicBezTo>
                    <a:pt x="0" y="0"/>
                    <a:pt x="81" y="149"/>
                    <a:pt x="12" y="2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7118354" y="4143370"/>
              <a:ext cx="692150" cy="1035049"/>
            </a:xfrm>
            <a:custGeom>
              <a:avLst/>
              <a:gdLst>
                <a:gd name="T0" fmla="*/ 7 w 203"/>
                <a:gd name="T1" fmla="*/ 284 h 284"/>
                <a:gd name="T2" fmla="*/ 111 w 203"/>
                <a:gd name="T3" fmla="*/ 27 h 284"/>
                <a:gd name="T4" fmla="*/ 7 w 203"/>
                <a:gd name="T5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3" h="284">
                  <a:moveTo>
                    <a:pt x="7" y="284"/>
                  </a:moveTo>
                  <a:cubicBezTo>
                    <a:pt x="7" y="284"/>
                    <a:pt x="203" y="48"/>
                    <a:pt x="111" y="27"/>
                  </a:cubicBezTo>
                  <a:cubicBezTo>
                    <a:pt x="0" y="0"/>
                    <a:pt x="85" y="154"/>
                    <a:pt x="7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7891467" y="4186232"/>
              <a:ext cx="676275" cy="868361"/>
            </a:xfrm>
            <a:custGeom>
              <a:avLst/>
              <a:gdLst>
                <a:gd name="T0" fmla="*/ 26 w 198"/>
                <a:gd name="T1" fmla="*/ 238 h 238"/>
                <a:gd name="T2" fmla="*/ 109 w 198"/>
                <a:gd name="T3" fmla="*/ 36 h 238"/>
                <a:gd name="T4" fmla="*/ 26 w 198"/>
                <a:gd name="T5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8" h="238">
                  <a:moveTo>
                    <a:pt x="26" y="238"/>
                  </a:moveTo>
                  <a:cubicBezTo>
                    <a:pt x="26" y="238"/>
                    <a:pt x="198" y="64"/>
                    <a:pt x="109" y="36"/>
                  </a:cubicBezTo>
                  <a:cubicBezTo>
                    <a:pt x="0" y="0"/>
                    <a:pt x="90" y="144"/>
                    <a:pt x="26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</p:grpSp>
      <p:sp>
        <p:nvSpPr>
          <p:cNvPr id="31" name="Oval 30"/>
          <p:cNvSpPr/>
          <p:nvPr/>
        </p:nvSpPr>
        <p:spPr>
          <a:xfrm>
            <a:off x="2428444" y="2952935"/>
            <a:ext cx="751225" cy="75122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4245194" y="4128022"/>
            <a:ext cx="751225" cy="75122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5483589" y="2531244"/>
            <a:ext cx="751225" cy="75122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shbone</a:t>
            </a:r>
          </a:p>
        </p:txBody>
      </p:sp>
      <p:sp>
        <p:nvSpPr>
          <p:cNvPr id="46" name="Oval 45"/>
          <p:cNvSpPr/>
          <p:nvPr/>
        </p:nvSpPr>
        <p:spPr>
          <a:xfrm>
            <a:off x="7485177" y="4506575"/>
            <a:ext cx="751225" cy="75122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216138" y="1758335"/>
            <a:ext cx="12650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973660" y="1982559"/>
            <a:ext cx="1891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Lorem ipsum dolor sit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amet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consectetur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adipiscing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elit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. Nunc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bibendum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eleifend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tortor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, non porta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justo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gravida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958701" y="5016017"/>
            <a:ext cx="12650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645386" y="5245409"/>
            <a:ext cx="1891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Lorem ipsum dolor sit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amet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consectetur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adipiscing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elit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. Nunc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bibendum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eleifend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tortor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, non porta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justo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gravida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253680" y="5348016"/>
            <a:ext cx="12650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54" name="Rectangle 53"/>
          <p:cNvSpPr/>
          <p:nvPr/>
        </p:nvSpPr>
        <p:spPr>
          <a:xfrm>
            <a:off x="6940365" y="5577408"/>
            <a:ext cx="1891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Lorem ipsum dolor sit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amet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consectetur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adipiscing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elit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. Nunc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bibendum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eleifend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tortor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, non porta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justo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gravida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240823" y="1315978"/>
            <a:ext cx="12650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orem Ipsu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56" name="Rectangle 55"/>
          <p:cNvSpPr/>
          <p:nvPr/>
        </p:nvSpPr>
        <p:spPr>
          <a:xfrm>
            <a:off x="4927508" y="1535642"/>
            <a:ext cx="18917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Lorem ipsum dolor sit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amet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consectetur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adipiscing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elit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. Nunc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bibendum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eleifend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tortor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, non porta </a:t>
            </a:r>
            <a:r>
              <a:rPr kumimoji="0" lang="en-US" sz="1000" i="0" u="none" strike="noStrike" kern="1200" cap="none" spc="0" normalizeH="0" baseline="0" noProof="0" dirty="0" err="1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justo</a:t>
            </a: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 gravida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F6A9C320-227E-46EC-BA88-B83CDC44021E}"/>
              </a:ext>
            </a:extLst>
          </p:cNvPr>
          <p:cNvSpPr/>
          <p:nvPr/>
        </p:nvSpPr>
        <p:spPr>
          <a:xfrm>
            <a:off x="2665049" y="3203998"/>
            <a:ext cx="278014" cy="278012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80B1082A-D86F-4B95-B15D-E99095CD87FE}"/>
              </a:ext>
            </a:extLst>
          </p:cNvPr>
          <p:cNvSpPr/>
          <p:nvPr/>
        </p:nvSpPr>
        <p:spPr>
          <a:xfrm>
            <a:off x="4481799" y="4358174"/>
            <a:ext cx="278014" cy="278012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EA14BA2-061B-4C7E-96EB-5384CA50F3CF}"/>
              </a:ext>
            </a:extLst>
          </p:cNvPr>
          <p:cNvSpPr/>
          <p:nvPr/>
        </p:nvSpPr>
        <p:spPr>
          <a:xfrm>
            <a:off x="5717088" y="2753869"/>
            <a:ext cx="278014" cy="278012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D659313-0B60-4A2D-8D3F-37F55E462703}"/>
              </a:ext>
            </a:extLst>
          </p:cNvPr>
          <p:cNvSpPr/>
          <p:nvPr/>
        </p:nvSpPr>
        <p:spPr>
          <a:xfrm>
            <a:off x="7721782" y="4743181"/>
            <a:ext cx="278014" cy="278012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3593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4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190</TotalTime>
  <Words>86</Words>
  <Application>Microsoft Office PowerPoint</Application>
  <PresentationFormat>Widescreen</PresentationFormat>
  <Paragraphs>10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Fishbo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519</cp:revision>
  <dcterms:created xsi:type="dcterms:W3CDTF">2020-11-27T23:09:27Z</dcterms:created>
  <dcterms:modified xsi:type="dcterms:W3CDTF">2021-04-06T15:2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